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2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D3466-D00F-4D35-91D2-6C14FAA79D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AFC666-4FF4-4C53-963E-A404838FE8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0A4D32-AE9E-4500-BED9-727544F5D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A750F9-F0F5-4B49-B813-F79F4AC3E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FEF2C-49F9-4365-8A43-CFDD21125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4621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B6221-3DF6-4E94-9B32-94BDCE47D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9E8D64-2042-4767-91AF-16890988E5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4AA559-765E-4727-A5E1-5F279BA77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42364F-D060-48F1-9E0F-2653B2443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7F41EE-168E-40CB-949C-7A231721C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08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94B8249-B63D-416A-B6A4-123FD4E1567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4B0E25-5AAE-46E2-B208-D26685C335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65B46B-6BA5-4DEE-B0D0-06CAEDD9E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070FC5-7AA1-4E50-991F-4EA3236F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882F2-B406-44DF-95D9-8CEC241A2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538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>
            <a:noAutofit/>
          </a:bodyPr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E7210B-FBD6-419E-A10A-0ABD0404025A}" type="datetime1">
              <a:rPr lang="en-US" smtClean="0">
                <a:solidFill>
                  <a:srgbClr val="000000"/>
                </a:solidFill>
              </a:rPr>
              <a:t>5/2/2021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Nayan Mardi, © Continental AG</a:t>
            </a: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88078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3535F-BDB6-4D6D-8506-82F30AFFB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1CC30A-D7A3-4A79-90DD-369AE95396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774DB2-17C1-4A0D-B04C-D9B3C1B53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55E2F-3BCD-453A-9F25-109F67301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AE76D-589B-4C82-A007-ED4882E42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916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9FCC8-9ABE-4238-B2C8-D06C59927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5A0AB-5F63-4063-9BC0-D28CAF40A1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6884EA-FABC-4C68-A64F-C1B5D9364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3B4CB-40B4-4D5E-B3AB-36E19783B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423FA-1BC4-4458-8316-086DE34B9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590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3791A-C35E-477D-9E79-B9C8053EA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EA98C6-191C-46F3-8030-6ACAF82264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21DE9-4F2E-4718-A6AB-6BA1D14CA9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AD3A48-A62A-4605-8BD4-EB4009300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5C2184-491E-445E-B8D1-A3EE35F1C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998E4B-1310-49C0-8776-E2931D3F6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84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F5A31-DF0F-4BE9-88F9-80AA45EE1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AE988-2990-49AC-B27E-07C1731BDA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93B499-62A7-4B96-8740-0C1691C7C2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5609B3-9FCF-4ED0-A08D-785BDA6E7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D99B92-81EC-4018-AC6A-0A60DF2730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96B53C-B771-4EFC-9F2B-0E315F0E7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A2F4A6-B1B3-4084-981D-51D9E6AE8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2FA8C8-723E-4F63-A2E7-40771F258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892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35C1D-E45E-4FA4-9A87-01361CB67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08DF8C-E6E1-498D-BEF1-C14F2F585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B32C3C-8B78-4413-8BC9-9F56157A1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C60D36-67AC-4878-A8B0-4CA0004A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89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2137D7-5768-4FF1-A40A-3E97088E1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51E01D-7ACA-4FE8-8D9C-3B32F7D5E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4A0B6D-5770-4D35-9FEF-1759ACDEB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66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C3607-4824-494E-9E7C-40351A240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4C7A0D-69A1-444D-A3F2-1C1D2683F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9A6655-8E97-487A-AB02-CA851418E1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CE9B8A-7C0A-4AC4-97F1-2CEA1744A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3D23D1-4186-4D1F-B4B5-58ABD9A81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58271D-4DDB-41AE-83E4-5CE28A0F8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27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BAC4E-23C2-4156-9BD6-291C22D45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4B3BF6-CEDB-4D85-B44D-AD3F0D29EE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D7AB7D-E145-4507-BE26-CCCB2F876C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F0FA06-109F-47A4-A3EF-0D90EA379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9186B7-F3DD-4C3C-9537-00F9C592A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85C791-1856-4354-BCF6-F66420998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61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766E73-7F86-456E-8A20-E6A0772B1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F2FC5F-795A-48DA-A58F-DB735EF83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2715E-8A68-4F73-872F-85C970E5B6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904CA-2081-4CEF-B315-0D44F15C4C9A}" type="datetimeFigureOut">
              <a:rPr lang="en-US" smtClean="0"/>
              <a:t>5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4F7F50-BC89-4236-BC1C-EFC14620D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6CE794-36F9-40EF-9520-AEED3491D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71853F-1F06-4A8D-986E-12A05ABBFA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245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326A80-C59F-4802-AD69-BB08E451D4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GB" smtClean="0">
                <a:solidFill>
                  <a:srgbClr val="000000"/>
                </a:solidFill>
              </a:rPr>
              <a:pPr/>
              <a:t>1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080B6F-16DF-4E92-85C8-AE7B37B898A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Nayan Mardi, © Continental AG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C9BFE5B-9BCE-41D9-A007-414CBC784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118" y="468826"/>
            <a:ext cx="8353425" cy="282560"/>
          </a:xfrm>
        </p:spPr>
        <p:txBody>
          <a:bodyPr>
            <a:normAutofit fontScale="90000"/>
          </a:bodyPr>
          <a:lstStyle/>
          <a:p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NEW FEATURE WITH TOOLS : Collect Inputs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6FDACA74-CF65-4EFA-BBF7-048C2FB3D132}"/>
              </a:ext>
            </a:extLst>
          </p:cNvPr>
          <p:cNvSpPr txBox="1">
            <a:spLocks/>
          </p:cNvSpPr>
          <p:nvPr/>
        </p:nvSpPr>
        <p:spPr bwMode="gray">
          <a:xfrm>
            <a:off x="483018" y="84977"/>
            <a:ext cx="10438507" cy="2825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EMS2MCR manual coding build environment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5258368-B4D4-4238-B8C4-4F170C739EB5}"/>
              </a:ext>
            </a:extLst>
          </p:cNvPr>
          <p:cNvSpPr/>
          <p:nvPr/>
        </p:nvSpPr>
        <p:spPr>
          <a:xfrm>
            <a:off x="5136022" y="1614885"/>
            <a:ext cx="401653" cy="185104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95167D9-5860-49BE-B778-5F3D7F345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8411" y="483605"/>
            <a:ext cx="5326627" cy="288140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E74C779-25F8-463D-B988-93D8107703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14" y="3342987"/>
            <a:ext cx="4032010" cy="292715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CD65C688-DE71-4F5E-A344-294A830AD0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536" y="820318"/>
            <a:ext cx="5657056" cy="3520773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6757ADAC-95F3-441C-AADB-E6E7BCF53C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018" y="4331131"/>
            <a:ext cx="3762375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01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NEW FEATURE WITH TOOLS : Collect Inpu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di, Nayan</dc:creator>
  <cp:lastModifiedBy>Tripathi, Ravi</cp:lastModifiedBy>
  <cp:revision>10</cp:revision>
  <dcterms:created xsi:type="dcterms:W3CDTF">2020-07-22T08:32:51Z</dcterms:created>
  <dcterms:modified xsi:type="dcterms:W3CDTF">2021-05-02T06:19:45Z</dcterms:modified>
</cp:coreProperties>
</file>